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447" r:id="rId2"/>
    <p:sldId id="551" r:id="rId3"/>
    <p:sldId id="552" r:id="rId4"/>
    <p:sldId id="553" r:id="rId5"/>
    <p:sldId id="554" r:id="rId6"/>
    <p:sldId id="557" r:id="rId7"/>
    <p:sldId id="558" r:id="rId8"/>
    <p:sldId id="559" r:id="rId9"/>
    <p:sldId id="556" r:id="rId10"/>
    <p:sldId id="560" r:id="rId11"/>
    <p:sldId id="562" r:id="rId12"/>
    <p:sldId id="450" r:id="rId13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7ED4"/>
    <a:srgbClr val="CC0099"/>
    <a:srgbClr val="808080"/>
    <a:srgbClr val="AA81E5"/>
    <a:srgbClr val="9900FF"/>
    <a:srgbClr val="6FD3FB"/>
    <a:srgbClr val="E486D4"/>
    <a:srgbClr val="FF66FF"/>
    <a:srgbClr val="E24E0C"/>
    <a:srgbClr val="C745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91" autoAdjust="0"/>
    <p:restoredTop sz="88075" autoAdjust="0"/>
  </p:normalViewPr>
  <p:slideViewPr>
    <p:cSldViewPr snapToGrid="0">
      <p:cViewPr varScale="1">
        <p:scale>
          <a:sx n="91" d="100"/>
          <a:sy n="91" d="100"/>
        </p:scale>
        <p:origin x="1656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12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54381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023785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911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FF6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23" name="Picture 51">
            <a:extLst>
              <a:ext uri="{FF2B5EF4-FFF2-40B4-BE49-F238E27FC236}">
                <a16:creationId xmlns:a16="http://schemas.microsoft.com/office/drawing/2014/main" id="{732C2C36-173F-49CB-AFC5-D61D3AEAB67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0"/>
            <a:ext cx="12192000" cy="68516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</p:pic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B7EF277A-FDA4-4B86-B8A9-9523E6880554}"/>
              </a:ext>
            </a:extLst>
          </p:cNvPr>
          <p:cNvSpPr/>
          <p:nvPr/>
        </p:nvSpPr>
        <p:spPr>
          <a:xfrm>
            <a:off x="8255000" y="2997200"/>
            <a:ext cx="3937000" cy="3860800"/>
          </a:xfrm>
          <a:custGeom>
            <a:avLst/>
            <a:gdLst>
              <a:gd name="connsiteX0" fmla="*/ 285115 w 3937000"/>
              <a:gd name="connsiteY0" fmla="*/ 2677795 h 3860800"/>
              <a:gd name="connsiteX1" fmla="*/ 2745105 w 3937000"/>
              <a:gd name="connsiteY1" fmla="*/ 287655 h 3860800"/>
              <a:gd name="connsiteX2" fmla="*/ 3937000 w 3937000"/>
              <a:gd name="connsiteY2" fmla="*/ 625475 h 3860800"/>
              <a:gd name="connsiteX3" fmla="*/ 3937000 w 3937000"/>
              <a:gd name="connsiteY3" fmla="*/ 361950 h 3860800"/>
              <a:gd name="connsiteX4" fmla="*/ 2673350 w 3937000"/>
              <a:gd name="connsiteY4" fmla="*/ 3175 h 3860800"/>
              <a:gd name="connsiteX5" fmla="*/ 3175 w 3937000"/>
              <a:gd name="connsiteY5" fmla="*/ 2597785 h 3860800"/>
              <a:gd name="connsiteX6" fmla="*/ 321310 w 3937000"/>
              <a:gd name="connsiteY6" fmla="*/ 3858260 h 3860800"/>
              <a:gd name="connsiteX7" fmla="*/ 582930 w 3937000"/>
              <a:gd name="connsiteY7" fmla="*/ 385826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37000" h="3860800">
                <a:moveTo>
                  <a:pt x="285115" y="2677795"/>
                </a:moveTo>
                <a:lnTo>
                  <a:pt x="2745105" y="287655"/>
                </a:lnTo>
                <a:lnTo>
                  <a:pt x="3937000" y="625475"/>
                </a:lnTo>
                <a:lnTo>
                  <a:pt x="3937000" y="361950"/>
                </a:lnTo>
                <a:lnTo>
                  <a:pt x="2673350" y="3175"/>
                </a:lnTo>
                <a:lnTo>
                  <a:pt x="3175" y="2597785"/>
                </a:lnTo>
                <a:lnTo>
                  <a:pt x="321310" y="3858260"/>
                </a:lnTo>
                <a:lnTo>
                  <a:pt x="582930" y="385826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5BBAA477-CAE7-4BEE-B9A2-C7342D4338E5}"/>
              </a:ext>
            </a:extLst>
          </p:cNvPr>
          <p:cNvSpPr/>
          <p:nvPr/>
        </p:nvSpPr>
        <p:spPr>
          <a:xfrm>
            <a:off x="-4763" y="-4763"/>
            <a:ext cx="6242050" cy="5861050"/>
          </a:xfrm>
          <a:custGeom>
            <a:avLst/>
            <a:gdLst>
              <a:gd name="connsiteX0" fmla="*/ 5957253 w 6242050"/>
              <a:gd name="connsiteY0" fmla="*/ 3184208 h 5861050"/>
              <a:gd name="connsiteX1" fmla="*/ 3497263 w 6242050"/>
              <a:gd name="connsiteY1" fmla="*/ 5574348 h 5861050"/>
              <a:gd name="connsiteX2" fmla="*/ 197168 w 6242050"/>
              <a:gd name="connsiteY2" fmla="*/ 4638993 h 5861050"/>
              <a:gd name="connsiteX3" fmla="*/ 4763 w 6242050"/>
              <a:gd name="connsiteY3" fmla="*/ 3876358 h 5861050"/>
              <a:gd name="connsiteX4" fmla="*/ 4763 w 6242050"/>
              <a:gd name="connsiteY4" fmla="*/ 4848543 h 5861050"/>
              <a:gd name="connsiteX5" fmla="*/ 3569018 w 6242050"/>
              <a:gd name="connsiteY5" fmla="*/ 5858828 h 5861050"/>
              <a:gd name="connsiteX6" fmla="*/ 6239828 w 6242050"/>
              <a:gd name="connsiteY6" fmla="*/ 3264218 h 5861050"/>
              <a:gd name="connsiteX7" fmla="*/ 5416868 w 6242050"/>
              <a:gd name="connsiteY7" fmla="*/ 4763 h 5861050"/>
              <a:gd name="connsiteX8" fmla="*/ 5154613 w 6242050"/>
              <a:gd name="connsiteY8" fmla="*/ 4763 h 586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42050" h="5861050">
                <a:moveTo>
                  <a:pt x="5957253" y="3184208"/>
                </a:moveTo>
                <a:lnTo>
                  <a:pt x="3497263" y="5574348"/>
                </a:lnTo>
                <a:lnTo>
                  <a:pt x="197168" y="4638993"/>
                </a:lnTo>
                <a:lnTo>
                  <a:pt x="4763" y="3876358"/>
                </a:lnTo>
                <a:lnTo>
                  <a:pt x="4763" y="4848543"/>
                </a:lnTo>
                <a:lnTo>
                  <a:pt x="3569018" y="5858828"/>
                </a:lnTo>
                <a:lnTo>
                  <a:pt x="6239828" y="3264218"/>
                </a:lnTo>
                <a:lnTo>
                  <a:pt x="5416868" y="4763"/>
                </a:lnTo>
                <a:lnTo>
                  <a:pt x="5154613" y="4763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9803FD26-3B68-4FA7-9F05-5C9AB8B2E8B2}"/>
              </a:ext>
            </a:extLst>
          </p:cNvPr>
          <p:cNvSpPr/>
          <p:nvPr/>
        </p:nvSpPr>
        <p:spPr>
          <a:xfrm>
            <a:off x="-4763" y="-4763"/>
            <a:ext cx="704850" cy="685800"/>
          </a:xfrm>
          <a:custGeom>
            <a:avLst/>
            <a:gdLst>
              <a:gd name="connsiteX0" fmla="*/ 340043 w 704850"/>
              <a:gd name="connsiteY0" fmla="*/ 4763 h 685800"/>
              <a:gd name="connsiteX1" fmla="*/ 4763 w 704850"/>
              <a:gd name="connsiteY1" fmla="*/ 330518 h 685800"/>
              <a:gd name="connsiteX2" fmla="*/ 4763 w 704850"/>
              <a:gd name="connsiteY2" fmla="*/ 684213 h 685800"/>
              <a:gd name="connsiteX3" fmla="*/ 704533 w 704850"/>
              <a:gd name="connsiteY3" fmla="*/ 4763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850" h="685800">
                <a:moveTo>
                  <a:pt x="340043" y="4763"/>
                </a:moveTo>
                <a:lnTo>
                  <a:pt x="4763" y="330518"/>
                </a:lnTo>
                <a:lnTo>
                  <a:pt x="4763" y="684213"/>
                </a:lnTo>
                <a:lnTo>
                  <a:pt x="704533" y="4763"/>
                </a:lnTo>
                <a:close/>
              </a:path>
            </a:pathLst>
          </a:custGeom>
          <a:solidFill>
            <a:srgbClr val="23336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Freeform 55">
            <a:extLst>
              <a:ext uri="{FF2B5EF4-FFF2-40B4-BE49-F238E27FC236}">
                <a16:creationId xmlns:a16="http://schemas.microsoft.com/office/drawing/2014/main" id="{04A44B7D-993D-4CB1-AD2D-2D83C95B5DE6}"/>
              </a:ext>
            </a:extLst>
          </p:cNvPr>
          <p:cNvSpPr>
            <a:spLocks/>
          </p:cNvSpPr>
          <p:nvPr userDrawn="1"/>
        </p:nvSpPr>
        <p:spPr bwMode="auto">
          <a:xfrm>
            <a:off x="1" y="1"/>
            <a:ext cx="3898900" cy="3429000"/>
          </a:xfrm>
          <a:custGeom>
            <a:avLst/>
            <a:gdLst>
              <a:gd name="T0" fmla="*/ 0 w 4912"/>
              <a:gd name="T1" fmla="*/ 840 h 4320"/>
              <a:gd name="T2" fmla="*/ 0 w 4912"/>
              <a:gd name="T3" fmla="*/ 1908 h 4320"/>
              <a:gd name="T4" fmla="*/ 464 w 4912"/>
              <a:gd name="T5" fmla="*/ 3633 h 4320"/>
              <a:gd name="T6" fmla="*/ 3032 w 4912"/>
              <a:gd name="T7" fmla="*/ 4320 h 4320"/>
              <a:gd name="T8" fmla="*/ 4912 w 4912"/>
              <a:gd name="T9" fmla="*/ 2441 h 4320"/>
              <a:gd name="T10" fmla="*/ 4258 w 4912"/>
              <a:gd name="T11" fmla="*/ 0 h 4320"/>
              <a:gd name="T12" fmla="*/ 842 w 4912"/>
              <a:gd name="T13" fmla="*/ 0 h 4320"/>
              <a:gd name="T14" fmla="*/ 0 w 4912"/>
              <a:gd name="T15" fmla="*/ 84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912" h="4320">
                <a:moveTo>
                  <a:pt x="0" y="840"/>
                </a:moveTo>
                <a:lnTo>
                  <a:pt x="0" y="1908"/>
                </a:lnTo>
                <a:lnTo>
                  <a:pt x="464" y="3633"/>
                </a:lnTo>
                <a:lnTo>
                  <a:pt x="3032" y="4320"/>
                </a:lnTo>
                <a:lnTo>
                  <a:pt x="4912" y="2441"/>
                </a:lnTo>
                <a:lnTo>
                  <a:pt x="4258" y="0"/>
                </a:lnTo>
                <a:lnTo>
                  <a:pt x="842" y="0"/>
                </a:lnTo>
                <a:lnTo>
                  <a:pt x="0" y="84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2" name="Freeform 59">
            <a:extLst>
              <a:ext uri="{FF2B5EF4-FFF2-40B4-BE49-F238E27FC236}">
                <a16:creationId xmlns:a16="http://schemas.microsoft.com/office/drawing/2014/main" id="{1AC0DA60-3676-4454-A5E5-41081EBF99D5}"/>
              </a:ext>
            </a:extLst>
          </p:cNvPr>
          <p:cNvSpPr>
            <a:spLocks/>
          </p:cNvSpPr>
          <p:nvPr userDrawn="1"/>
        </p:nvSpPr>
        <p:spPr bwMode="auto">
          <a:xfrm>
            <a:off x="0" y="1912716"/>
            <a:ext cx="3937000" cy="4945284"/>
          </a:xfrm>
          <a:custGeom>
            <a:avLst/>
            <a:gdLst>
              <a:gd name="T0" fmla="*/ 1084 w 3440"/>
              <a:gd name="T1" fmla="*/ 0 h 4321"/>
              <a:gd name="T2" fmla="*/ 0 w 3440"/>
              <a:gd name="T3" fmla="*/ 1082 h 4321"/>
              <a:gd name="T4" fmla="*/ 0 w 3440"/>
              <a:gd name="T5" fmla="*/ 4321 h 4321"/>
              <a:gd name="T6" fmla="*/ 1466 w 3440"/>
              <a:gd name="T7" fmla="*/ 4321 h 4321"/>
              <a:gd name="T8" fmla="*/ 3440 w 3440"/>
              <a:gd name="T9" fmla="*/ 2351 h 4321"/>
              <a:gd name="T10" fmla="*/ 2941 w 3440"/>
              <a:gd name="T11" fmla="*/ 496 h 4321"/>
              <a:gd name="T12" fmla="*/ 1084 w 3440"/>
              <a:gd name="T13" fmla="*/ 0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40" h="4321">
                <a:moveTo>
                  <a:pt x="1084" y="0"/>
                </a:moveTo>
                <a:lnTo>
                  <a:pt x="0" y="1082"/>
                </a:lnTo>
                <a:lnTo>
                  <a:pt x="0" y="4321"/>
                </a:lnTo>
                <a:lnTo>
                  <a:pt x="1466" y="4321"/>
                </a:lnTo>
                <a:lnTo>
                  <a:pt x="3440" y="2351"/>
                </a:lnTo>
                <a:lnTo>
                  <a:pt x="2941" y="496"/>
                </a:lnTo>
                <a:lnTo>
                  <a:pt x="1084" y="0"/>
                </a:lnTo>
                <a:close/>
              </a:path>
            </a:pathLst>
          </a:custGeom>
          <a:gradFill flip="none" rotWithShape="1">
            <a:gsLst>
              <a:gs pos="7000">
                <a:schemeClr val="accent2">
                  <a:lumMod val="60000"/>
                  <a:lumOff val="40000"/>
                  <a:alpha val="82000"/>
                </a:schemeClr>
              </a:gs>
              <a:gs pos="94304">
                <a:schemeClr val="accent2">
                  <a:lumMod val="96000"/>
                </a:schemeClr>
              </a:gs>
              <a:gs pos="50000">
                <a:schemeClr val="accent2">
                  <a:alpha val="84000"/>
                </a:schemeClr>
              </a:gs>
            </a:gsLst>
            <a:lin ang="102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3" name="Freeform 60">
            <a:extLst>
              <a:ext uri="{FF2B5EF4-FFF2-40B4-BE49-F238E27FC236}">
                <a16:creationId xmlns:a16="http://schemas.microsoft.com/office/drawing/2014/main" id="{4B18613F-98D1-40F6-A622-801B6647AC2D}"/>
              </a:ext>
            </a:extLst>
          </p:cNvPr>
          <p:cNvSpPr>
            <a:spLocks/>
          </p:cNvSpPr>
          <p:nvPr userDrawn="1"/>
        </p:nvSpPr>
        <p:spPr bwMode="auto">
          <a:xfrm>
            <a:off x="3363913" y="0"/>
            <a:ext cx="5461000" cy="6859588"/>
          </a:xfrm>
          <a:custGeom>
            <a:avLst/>
            <a:gdLst>
              <a:gd name="T0" fmla="*/ 1084 w 3440"/>
              <a:gd name="T1" fmla="*/ 0 h 4321"/>
              <a:gd name="T2" fmla="*/ 0 w 3440"/>
              <a:gd name="T3" fmla="*/ 1082 h 4321"/>
              <a:gd name="T4" fmla="*/ 0 w 3440"/>
              <a:gd name="T5" fmla="*/ 4321 h 4321"/>
              <a:gd name="T6" fmla="*/ 1466 w 3440"/>
              <a:gd name="T7" fmla="*/ 4321 h 4321"/>
              <a:gd name="T8" fmla="*/ 3440 w 3440"/>
              <a:gd name="T9" fmla="*/ 2351 h 4321"/>
              <a:gd name="T10" fmla="*/ 2941 w 3440"/>
              <a:gd name="T11" fmla="*/ 496 h 4321"/>
              <a:gd name="T12" fmla="*/ 1084 w 3440"/>
              <a:gd name="T13" fmla="*/ 0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40" h="4321">
                <a:moveTo>
                  <a:pt x="1084" y="0"/>
                </a:moveTo>
                <a:lnTo>
                  <a:pt x="0" y="1082"/>
                </a:lnTo>
                <a:lnTo>
                  <a:pt x="0" y="4321"/>
                </a:lnTo>
                <a:lnTo>
                  <a:pt x="1466" y="4321"/>
                </a:lnTo>
                <a:lnTo>
                  <a:pt x="3440" y="2351"/>
                </a:lnTo>
                <a:lnTo>
                  <a:pt x="2941" y="496"/>
                </a:lnTo>
                <a:lnTo>
                  <a:pt x="108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7" name="Freeform 64">
            <a:extLst>
              <a:ext uri="{FF2B5EF4-FFF2-40B4-BE49-F238E27FC236}">
                <a16:creationId xmlns:a16="http://schemas.microsoft.com/office/drawing/2014/main" id="{495E36A6-C46F-49F4-AB3A-035F63CD738A}"/>
              </a:ext>
            </a:extLst>
          </p:cNvPr>
          <p:cNvSpPr>
            <a:spLocks/>
          </p:cNvSpPr>
          <p:nvPr userDrawn="1"/>
        </p:nvSpPr>
        <p:spPr bwMode="auto">
          <a:xfrm>
            <a:off x="8253413" y="1588"/>
            <a:ext cx="3937000" cy="5465244"/>
          </a:xfrm>
          <a:custGeom>
            <a:avLst/>
            <a:gdLst>
              <a:gd name="T0" fmla="*/ 3112 w 3112"/>
              <a:gd name="T1" fmla="*/ 0 h 4320"/>
              <a:gd name="T2" fmla="*/ 2273 w 3112"/>
              <a:gd name="T3" fmla="*/ 0 h 4320"/>
              <a:gd name="T4" fmla="*/ 0 w 3112"/>
              <a:gd name="T5" fmla="*/ 2270 h 4320"/>
              <a:gd name="T6" fmla="*/ 434 w 3112"/>
              <a:gd name="T7" fmla="*/ 3887 h 4320"/>
              <a:gd name="T8" fmla="*/ 2053 w 3112"/>
              <a:gd name="T9" fmla="*/ 4320 h 4320"/>
              <a:gd name="T10" fmla="*/ 3112 w 3112"/>
              <a:gd name="T11" fmla="*/ 3264 h 4320"/>
              <a:gd name="T12" fmla="*/ 3112 w 3112"/>
              <a:gd name="T13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12" h="4320">
                <a:moveTo>
                  <a:pt x="3112" y="0"/>
                </a:moveTo>
                <a:lnTo>
                  <a:pt x="2273" y="0"/>
                </a:lnTo>
                <a:lnTo>
                  <a:pt x="0" y="2270"/>
                </a:lnTo>
                <a:lnTo>
                  <a:pt x="434" y="3887"/>
                </a:lnTo>
                <a:lnTo>
                  <a:pt x="2053" y="4320"/>
                </a:lnTo>
                <a:lnTo>
                  <a:pt x="3112" y="3264"/>
                </a:lnTo>
                <a:lnTo>
                  <a:pt x="3112" y="0"/>
                </a:lnTo>
                <a:close/>
              </a:path>
            </a:pathLst>
          </a:custGeom>
          <a:gradFill>
            <a:gsLst>
              <a:gs pos="11000">
                <a:schemeClr val="accent3">
                  <a:lumMod val="60000"/>
                  <a:lumOff val="40000"/>
                </a:schemeClr>
              </a:gs>
              <a:gs pos="87000">
                <a:schemeClr val="accent3">
                  <a:lumMod val="75000"/>
                </a:schemeClr>
              </a:gs>
              <a:gs pos="48000">
                <a:schemeClr val="accent3">
                  <a:lumMod val="75000"/>
                </a:schemeClr>
              </a:gs>
            </a:gsLst>
            <a:lin ang="108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1" name="Freeform 68">
            <a:extLst>
              <a:ext uri="{FF2B5EF4-FFF2-40B4-BE49-F238E27FC236}">
                <a16:creationId xmlns:a16="http://schemas.microsoft.com/office/drawing/2014/main" id="{A6DA4FAE-2DBB-494B-9936-9347B9158F8A}"/>
              </a:ext>
            </a:extLst>
          </p:cNvPr>
          <p:cNvSpPr>
            <a:spLocks/>
          </p:cNvSpPr>
          <p:nvPr userDrawn="1"/>
        </p:nvSpPr>
        <p:spPr bwMode="auto">
          <a:xfrm>
            <a:off x="9195359" y="4461043"/>
            <a:ext cx="2993466" cy="2400132"/>
          </a:xfrm>
          <a:custGeom>
            <a:avLst/>
            <a:gdLst>
              <a:gd name="T0" fmla="*/ 2150 w 3910"/>
              <a:gd name="T1" fmla="*/ 0 h 3135"/>
              <a:gd name="T2" fmla="*/ 0 w 3910"/>
              <a:gd name="T3" fmla="*/ 2148 h 3135"/>
              <a:gd name="T4" fmla="*/ 265 w 3910"/>
              <a:gd name="T5" fmla="*/ 3135 h 3135"/>
              <a:gd name="T6" fmla="*/ 3910 w 3910"/>
              <a:gd name="T7" fmla="*/ 3135 h 3135"/>
              <a:gd name="T8" fmla="*/ 3910 w 3910"/>
              <a:gd name="T9" fmla="*/ 471 h 3135"/>
              <a:gd name="T10" fmla="*/ 2150 w 3910"/>
              <a:gd name="T11" fmla="*/ 0 h 3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10" h="3135">
                <a:moveTo>
                  <a:pt x="2150" y="0"/>
                </a:moveTo>
                <a:lnTo>
                  <a:pt x="0" y="2148"/>
                </a:lnTo>
                <a:lnTo>
                  <a:pt x="265" y="3135"/>
                </a:lnTo>
                <a:lnTo>
                  <a:pt x="3910" y="3135"/>
                </a:lnTo>
                <a:lnTo>
                  <a:pt x="3910" y="471"/>
                </a:lnTo>
                <a:lnTo>
                  <a:pt x="2150" y="0"/>
                </a:lnTo>
                <a:close/>
              </a:path>
            </a:pathLst>
          </a:custGeom>
          <a:solidFill>
            <a:schemeClr val="accent1">
              <a:alpha val="83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4" name="Freeform 69">
            <a:extLst>
              <a:ext uri="{FF2B5EF4-FFF2-40B4-BE49-F238E27FC236}">
                <a16:creationId xmlns:a16="http://schemas.microsoft.com/office/drawing/2014/main" id="{FB25F689-18BE-42F1-B7A8-47E8393F60E2}"/>
              </a:ext>
            </a:extLst>
          </p:cNvPr>
          <p:cNvSpPr>
            <a:spLocks/>
          </p:cNvSpPr>
          <p:nvPr userDrawn="1"/>
        </p:nvSpPr>
        <p:spPr bwMode="auto">
          <a:xfrm>
            <a:off x="5981700" y="1884363"/>
            <a:ext cx="6207125" cy="4976812"/>
          </a:xfrm>
          <a:custGeom>
            <a:avLst/>
            <a:gdLst>
              <a:gd name="T0" fmla="*/ 2150 w 3910"/>
              <a:gd name="T1" fmla="*/ 0 h 3135"/>
              <a:gd name="T2" fmla="*/ 0 w 3910"/>
              <a:gd name="T3" fmla="*/ 2148 h 3135"/>
              <a:gd name="T4" fmla="*/ 265 w 3910"/>
              <a:gd name="T5" fmla="*/ 3135 h 3135"/>
              <a:gd name="T6" fmla="*/ 3910 w 3910"/>
              <a:gd name="T7" fmla="*/ 3135 h 3135"/>
              <a:gd name="T8" fmla="*/ 3910 w 3910"/>
              <a:gd name="T9" fmla="*/ 471 h 3135"/>
              <a:gd name="T10" fmla="*/ 2150 w 3910"/>
              <a:gd name="T11" fmla="*/ 0 h 3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10" h="3135">
                <a:moveTo>
                  <a:pt x="2150" y="0"/>
                </a:moveTo>
                <a:lnTo>
                  <a:pt x="0" y="2148"/>
                </a:lnTo>
                <a:lnTo>
                  <a:pt x="265" y="3135"/>
                </a:lnTo>
                <a:lnTo>
                  <a:pt x="3910" y="3135"/>
                </a:lnTo>
                <a:lnTo>
                  <a:pt x="3910" y="471"/>
                </a:lnTo>
                <a:lnTo>
                  <a:pt x="215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8" name="Freeform 73">
            <a:extLst>
              <a:ext uri="{FF2B5EF4-FFF2-40B4-BE49-F238E27FC236}">
                <a16:creationId xmlns:a16="http://schemas.microsoft.com/office/drawing/2014/main" id="{4738FC39-526E-4CB7-9B71-0114C16FA4A8}"/>
              </a:ext>
            </a:extLst>
          </p:cNvPr>
          <p:cNvSpPr>
            <a:spLocks/>
          </p:cNvSpPr>
          <p:nvPr userDrawn="1"/>
        </p:nvSpPr>
        <p:spPr bwMode="auto">
          <a:xfrm>
            <a:off x="10041771" y="4456448"/>
            <a:ext cx="1598536" cy="1010384"/>
          </a:xfrm>
          <a:custGeom>
            <a:avLst/>
            <a:gdLst>
              <a:gd name="T0" fmla="*/ 1288 w 2582"/>
              <a:gd name="T1" fmla="*/ 0 h 1632"/>
              <a:gd name="T2" fmla="*/ 0 w 2582"/>
              <a:gd name="T3" fmla="*/ 1288 h 1632"/>
              <a:gd name="T4" fmla="*/ 1296 w 2582"/>
              <a:gd name="T5" fmla="*/ 1632 h 1632"/>
              <a:gd name="T6" fmla="*/ 2582 w 2582"/>
              <a:gd name="T7" fmla="*/ 346 h 1632"/>
              <a:gd name="T8" fmla="*/ 1288 w 2582"/>
              <a:gd name="T9" fmla="*/ 0 h 1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82" h="1632">
                <a:moveTo>
                  <a:pt x="1288" y="0"/>
                </a:moveTo>
                <a:lnTo>
                  <a:pt x="0" y="1288"/>
                </a:lnTo>
                <a:lnTo>
                  <a:pt x="1296" y="1632"/>
                </a:lnTo>
                <a:lnTo>
                  <a:pt x="2582" y="346"/>
                </a:lnTo>
                <a:lnTo>
                  <a:pt x="1288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96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C98DD32-D9D2-4CA9-885D-3FD251A0E9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562" y="0"/>
            <a:ext cx="11500876" cy="6858000"/>
          </a:xfrm>
          <a:prstGeom prst="rect">
            <a:avLst/>
          </a:prstGeom>
        </p:spPr>
      </p:pic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255963" y="2994025"/>
            <a:ext cx="5680074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255963" y="1912716"/>
            <a:ext cx="5680074" cy="1081309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55963" y="4757333"/>
            <a:ext cx="5680074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55963" y="5053604"/>
            <a:ext cx="5680074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4D90B474-BEB7-402F-A80F-549B8E31C209}"/>
              </a:ext>
            </a:extLst>
          </p:cNvPr>
          <p:cNvGrpSpPr/>
          <p:nvPr userDrawn="1"/>
        </p:nvGrpSpPr>
        <p:grpSpPr>
          <a:xfrm>
            <a:off x="-4763" y="-4763"/>
            <a:ext cx="12196763" cy="6865938"/>
            <a:chOff x="-4763" y="-4763"/>
            <a:chExt cx="12196763" cy="6865938"/>
          </a:xfrm>
        </p:grpSpPr>
        <p:pic>
          <p:nvPicPr>
            <p:cNvPr id="4" name="Picture 51">
              <a:extLst>
                <a:ext uri="{FF2B5EF4-FFF2-40B4-BE49-F238E27FC236}">
                  <a16:creationId xmlns:a16="http://schemas.microsoft.com/office/drawing/2014/main" id="{9F5C6627-CF08-4D4D-AB25-50AE5971A6A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88" y="0"/>
              <a:ext cx="12192000" cy="685165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</p:pic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828BDC7A-8DBB-45BC-AEF2-55F4834FE8D5}"/>
                </a:ext>
              </a:extLst>
            </p:cNvPr>
            <p:cNvSpPr/>
            <p:nvPr userDrawn="1"/>
          </p:nvSpPr>
          <p:spPr>
            <a:xfrm>
              <a:off x="8255000" y="2997200"/>
              <a:ext cx="3937000" cy="3860800"/>
            </a:xfrm>
            <a:custGeom>
              <a:avLst/>
              <a:gdLst>
                <a:gd name="connsiteX0" fmla="*/ 285115 w 3937000"/>
                <a:gd name="connsiteY0" fmla="*/ 2677795 h 3860800"/>
                <a:gd name="connsiteX1" fmla="*/ 2745105 w 3937000"/>
                <a:gd name="connsiteY1" fmla="*/ 287655 h 3860800"/>
                <a:gd name="connsiteX2" fmla="*/ 3937000 w 3937000"/>
                <a:gd name="connsiteY2" fmla="*/ 625475 h 3860800"/>
                <a:gd name="connsiteX3" fmla="*/ 3937000 w 3937000"/>
                <a:gd name="connsiteY3" fmla="*/ 361950 h 3860800"/>
                <a:gd name="connsiteX4" fmla="*/ 2673350 w 3937000"/>
                <a:gd name="connsiteY4" fmla="*/ 3175 h 3860800"/>
                <a:gd name="connsiteX5" fmla="*/ 3175 w 3937000"/>
                <a:gd name="connsiteY5" fmla="*/ 2597785 h 3860800"/>
                <a:gd name="connsiteX6" fmla="*/ 321310 w 3937000"/>
                <a:gd name="connsiteY6" fmla="*/ 3858260 h 3860800"/>
                <a:gd name="connsiteX7" fmla="*/ 582930 w 3937000"/>
                <a:gd name="connsiteY7" fmla="*/ 3858260 h 386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37000" h="3860800">
                  <a:moveTo>
                    <a:pt x="285115" y="2677795"/>
                  </a:moveTo>
                  <a:lnTo>
                    <a:pt x="2745105" y="287655"/>
                  </a:lnTo>
                  <a:lnTo>
                    <a:pt x="3937000" y="625475"/>
                  </a:lnTo>
                  <a:lnTo>
                    <a:pt x="3937000" y="361950"/>
                  </a:lnTo>
                  <a:lnTo>
                    <a:pt x="2673350" y="3175"/>
                  </a:lnTo>
                  <a:lnTo>
                    <a:pt x="3175" y="2597785"/>
                  </a:lnTo>
                  <a:lnTo>
                    <a:pt x="321310" y="3858260"/>
                  </a:lnTo>
                  <a:lnTo>
                    <a:pt x="582930" y="3858260"/>
                  </a:lnTo>
                  <a:close/>
                </a:path>
              </a:pathLst>
            </a:custGeom>
            <a:solidFill>
              <a:schemeClr val="accent4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1201E6C9-F139-4606-8E78-7CCD87131DE7}"/>
                </a:ext>
              </a:extLst>
            </p:cNvPr>
            <p:cNvSpPr/>
            <p:nvPr userDrawn="1"/>
          </p:nvSpPr>
          <p:spPr>
            <a:xfrm>
              <a:off x="-4763" y="-4763"/>
              <a:ext cx="6242050" cy="5861050"/>
            </a:xfrm>
            <a:custGeom>
              <a:avLst/>
              <a:gdLst>
                <a:gd name="connsiteX0" fmla="*/ 5957253 w 6242050"/>
                <a:gd name="connsiteY0" fmla="*/ 3184208 h 5861050"/>
                <a:gd name="connsiteX1" fmla="*/ 3497263 w 6242050"/>
                <a:gd name="connsiteY1" fmla="*/ 5574348 h 5861050"/>
                <a:gd name="connsiteX2" fmla="*/ 197168 w 6242050"/>
                <a:gd name="connsiteY2" fmla="*/ 4638993 h 5861050"/>
                <a:gd name="connsiteX3" fmla="*/ 4763 w 6242050"/>
                <a:gd name="connsiteY3" fmla="*/ 3876358 h 5861050"/>
                <a:gd name="connsiteX4" fmla="*/ 4763 w 6242050"/>
                <a:gd name="connsiteY4" fmla="*/ 4848543 h 5861050"/>
                <a:gd name="connsiteX5" fmla="*/ 3569018 w 6242050"/>
                <a:gd name="connsiteY5" fmla="*/ 5858828 h 5861050"/>
                <a:gd name="connsiteX6" fmla="*/ 6239828 w 6242050"/>
                <a:gd name="connsiteY6" fmla="*/ 3264218 h 5861050"/>
                <a:gd name="connsiteX7" fmla="*/ 5416868 w 6242050"/>
                <a:gd name="connsiteY7" fmla="*/ 4763 h 5861050"/>
                <a:gd name="connsiteX8" fmla="*/ 5154613 w 6242050"/>
                <a:gd name="connsiteY8" fmla="*/ 4763 h 586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2050" h="5861050">
                  <a:moveTo>
                    <a:pt x="5957253" y="3184208"/>
                  </a:moveTo>
                  <a:lnTo>
                    <a:pt x="3497263" y="5574348"/>
                  </a:lnTo>
                  <a:lnTo>
                    <a:pt x="197168" y="4638993"/>
                  </a:lnTo>
                  <a:lnTo>
                    <a:pt x="4763" y="3876358"/>
                  </a:lnTo>
                  <a:lnTo>
                    <a:pt x="4763" y="4848543"/>
                  </a:lnTo>
                  <a:lnTo>
                    <a:pt x="3569018" y="5858828"/>
                  </a:lnTo>
                  <a:lnTo>
                    <a:pt x="6239828" y="3264218"/>
                  </a:lnTo>
                  <a:lnTo>
                    <a:pt x="5416868" y="4763"/>
                  </a:lnTo>
                  <a:lnTo>
                    <a:pt x="5154613" y="4763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094DB1A2-1E9B-4034-ADDC-F9F71B36FB5E}"/>
                </a:ext>
              </a:extLst>
            </p:cNvPr>
            <p:cNvSpPr/>
            <p:nvPr userDrawn="1"/>
          </p:nvSpPr>
          <p:spPr>
            <a:xfrm>
              <a:off x="-4763" y="-4763"/>
              <a:ext cx="704850" cy="685800"/>
            </a:xfrm>
            <a:custGeom>
              <a:avLst/>
              <a:gdLst>
                <a:gd name="connsiteX0" fmla="*/ 340043 w 704850"/>
                <a:gd name="connsiteY0" fmla="*/ 4763 h 685800"/>
                <a:gd name="connsiteX1" fmla="*/ 4763 w 704850"/>
                <a:gd name="connsiteY1" fmla="*/ 330518 h 685800"/>
                <a:gd name="connsiteX2" fmla="*/ 4763 w 704850"/>
                <a:gd name="connsiteY2" fmla="*/ 684213 h 685800"/>
                <a:gd name="connsiteX3" fmla="*/ 704533 w 704850"/>
                <a:gd name="connsiteY3" fmla="*/ 4763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4850" h="685800">
                  <a:moveTo>
                    <a:pt x="340043" y="4763"/>
                  </a:moveTo>
                  <a:lnTo>
                    <a:pt x="4763" y="330518"/>
                  </a:lnTo>
                  <a:lnTo>
                    <a:pt x="4763" y="684213"/>
                  </a:lnTo>
                  <a:lnTo>
                    <a:pt x="704533" y="4763"/>
                  </a:lnTo>
                  <a:close/>
                </a:path>
              </a:pathLst>
            </a:custGeom>
            <a:solidFill>
              <a:srgbClr val="23336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Freeform 55">
              <a:extLst>
                <a:ext uri="{FF2B5EF4-FFF2-40B4-BE49-F238E27FC236}">
                  <a16:creationId xmlns:a16="http://schemas.microsoft.com/office/drawing/2014/main" id="{D0014895-5360-4AFA-ABCC-4DB54EE156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" y="1"/>
              <a:ext cx="3898900" cy="3429000"/>
            </a:xfrm>
            <a:custGeom>
              <a:avLst/>
              <a:gdLst>
                <a:gd name="T0" fmla="*/ 0 w 4912"/>
                <a:gd name="T1" fmla="*/ 840 h 4320"/>
                <a:gd name="T2" fmla="*/ 0 w 4912"/>
                <a:gd name="T3" fmla="*/ 1908 h 4320"/>
                <a:gd name="T4" fmla="*/ 464 w 4912"/>
                <a:gd name="T5" fmla="*/ 3633 h 4320"/>
                <a:gd name="T6" fmla="*/ 3032 w 4912"/>
                <a:gd name="T7" fmla="*/ 4320 h 4320"/>
                <a:gd name="T8" fmla="*/ 4912 w 4912"/>
                <a:gd name="T9" fmla="*/ 2441 h 4320"/>
                <a:gd name="T10" fmla="*/ 4258 w 4912"/>
                <a:gd name="T11" fmla="*/ 0 h 4320"/>
                <a:gd name="T12" fmla="*/ 842 w 4912"/>
                <a:gd name="T13" fmla="*/ 0 h 4320"/>
                <a:gd name="T14" fmla="*/ 0 w 4912"/>
                <a:gd name="T15" fmla="*/ 84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12" h="4320">
                  <a:moveTo>
                    <a:pt x="0" y="840"/>
                  </a:moveTo>
                  <a:lnTo>
                    <a:pt x="0" y="1908"/>
                  </a:lnTo>
                  <a:lnTo>
                    <a:pt x="464" y="3633"/>
                  </a:lnTo>
                  <a:lnTo>
                    <a:pt x="3032" y="4320"/>
                  </a:lnTo>
                  <a:lnTo>
                    <a:pt x="4912" y="2441"/>
                  </a:lnTo>
                  <a:lnTo>
                    <a:pt x="4258" y="0"/>
                  </a:lnTo>
                  <a:lnTo>
                    <a:pt x="842" y="0"/>
                  </a:lnTo>
                  <a:lnTo>
                    <a:pt x="0" y="8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59">
              <a:extLst>
                <a:ext uri="{FF2B5EF4-FFF2-40B4-BE49-F238E27FC236}">
                  <a16:creationId xmlns:a16="http://schemas.microsoft.com/office/drawing/2014/main" id="{43CC9295-932D-4CD5-B55E-682F4FF5FB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912716"/>
              <a:ext cx="3937000" cy="4945284"/>
            </a:xfrm>
            <a:custGeom>
              <a:avLst/>
              <a:gdLst>
                <a:gd name="T0" fmla="*/ 1084 w 3440"/>
                <a:gd name="T1" fmla="*/ 0 h 4321"/>
                <a:gd name="T2" fmla="*/ 0 w 3440"/>
                <a:gd name="T3" fmla="*/ 1082 h 4321"/>
                <a:gd name="T4" fmla="*/ 0 w 3440"/>
                <a:gd name="T5" fmla="*/ 4321 h 4321"/>
                <a:gd name="T6" fmla="*/ 1466 w 3440"/>
                <a:gd name="T7" fmla="*/ 4321 h 4321"/>
                <a:gd name="T8" fmla="*/ 3440 w 3440"/>
                <a:gd name="T9" fmla="*/ 2351 h 4321"/>
                <a:gd name="T10" fmla="*/ 2941 w 3440"/>
                <a:gd name="T11" fmla="*/ 496 h 4321"/>
                <a:gd name="T12" fmla="*/ 1084 w 3440"/>
                <a:gd name="T13" fmla="*/ 0 h 4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40" h="4321">
                  <a:moveTo>
                    <a:pt x="1084" y="0"/>
                  </a:moveTo>
                  <a:lnTo>
                    <a:pt x="0" y="1082"/>
                  </a:lnTo>
                  <a:lnTo>
                    <a:pt x="0" y="4321"/>
                  </a:lnTo>
                  <a:lnTo>
                    <a:pt x="1466" y="4321"/>
                  </a:lnTo>
                  <a:lnTo>
                    <a:pt x="3440" y="2351"/>
                  </a:lnTo>
                  <a:lnTo>
                    <a:pt x="2941" y="496"/>
                  </a:lnTo>
                  <a:lnTo>
                    <a:pt x="1084" y="0"/>
                  </a:lnTo>
                  <a:close/>
                </a:path>
              </a:pathLst>
            </a:custGeom>
            <a:gradFill flip="none" rotWithShape="1">
              <a:gsLst>
                <a:gs pos="7000">
                  <a:schemeClr val="accent2">
                    <a:lumMod val="60000"/>
                    <a:lumOff val="40000"/>
                    <a:alpha val="82000"/>
                  </a:schemeClr>
                </a:gs>
                <a:gs pos="94304">
                  <a:schemeClr val="accent2">
                    <a:lumMod val="96000"/>
                  </a:schemeClr>
                </a:gs>
                <a:gs pos="50000">
                  <a:schemeClr val="accent2">
                    <a:alpha val="84000"/>
                  </a:schemeClr>
                </a:gs>
              </a:gsLst>
              <a:lin ang="102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Freeform 60">
              <a:extLst>
                <a:ext uri="{FF2B5EF4-FFF2-40B4-BE49-F238E27FC236}">
                  <a16:creationId xmlns:a16="http://schemas.microsoft.com/office/drawing/2014/main" id="{F45BE3DB-CDB6-4698-977B-337DC3F7A4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63913" y="0"/>
              <a:ext cx="5461000" cy="6859588"/>
            </a:xfrm>
            <a:custGeom>
              <a:avLst/>
              <a:gdLst>
                <a:gd name="T0" fmla="*/ 1084 w 3440"/>
                <a:gd name="T1" fmla="*/ 0 h 4321"/>
                <a:gd name="T2" fmla="*/ 0 w 3440"/>
                <a:gd name="T3" fmla="*/ 1082 h 4321"/>
                <a:gd name="T4" fmla="*/ 0 w 3440"/>
                <a:gd name="T5" fmla="*/ 4321 h 4321"/>
                <a:gd name="T6" fmla="*/ 1466 w 3440"/>
                <a:gd name="T7" fmla="*/ 4321 h 4321"/>
                <a:gd name="T8" fmla="*/ 3440 w 3440"/>
                <a:gd name="T9" fmla="*/ 2351 h 4321"/>
                <a:gd name="T10" fmla="*/ 2941 w 3440"/>
                <a:gd name="T11" fmla="*/ 496 h 4321"/>
                <a:gd name="T12" fmla="*/ 1084 w 3440"/>
                <a:gd name="T13" fmla="*/ 0 h 4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40" h="4321">
                  <a:moveTo>
                    <a:pt x="1084" y="0"/>
                  </a:moveTo>
                  <a:lnTo>
                    <a:pt x="0" y="1082"/>
                  </a:lnTo>
                  <a:lnTo>
                    <a:pt x="0" y="4321"/>
                  </a:lnTo>
                  <a:lnTo>
                    <a:pt x="1466" y="4321"/>
                  </a:lnTo>
                  <a:lnTo>
                    <a:pt x="3440" y="2351"/>
                  </a:lnTo>
                  <a:lnTo>
                    <a:pt x="2941" y="496"/>
                  </a:lnTo>
                  <a:lnTo>
                    <a:pt x="10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64">
              <a:extLst>
                <a:ext uri="{FF2B5EF4-FFF2-40B4-BE49-F238E27FC236}">
                  <a16:creationId xmlns:a16="http://schemas.microsoft.com/office/drawing/2014/main" id="{FD11EB5C-B043-4786-9584-04CF01CE78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53413" y="1588"/>
              <a:ext cx="3937000" cy="5465244"/>
            </a:xfrm>
            <a:custGeom>
              <a:avLst/>
              <a:gdLst>
                <a:gd name="T0" fmla="*/ 3112 w 3112"/>
                <a:gd name="T1" fmla="*/ 0 h 4320"/>
                <a:gd name="T2" fmla="*/ 2273 w 3112"/>
                <a:gd name="T3" fmla="*/ 0 h 4320"/>
                <a:gd name="T4" fmla="*/ 0 w 3112"/>
                <a:gd name="T5" fmla="*/ 2270 h 4320"/>
                <a:gd name="T6" fmla="*/ 434 w 3112"/>
                <a:gd name="T7" fmla="*/ 3887 h 4320"/>
                <a:gd name="T8" fmla="*/ 2053 w 3112"/>
                <a:gd name="T9" fmla="*/ 4320 h 4320"/>
                <a:gd name="T10" fmla="*/ 3112 w 3112"/>
                <a:gd name="T11" fmla="*/ 3264 h 4320"/>
                <a:gd name="T12" fmla="*/ 3112 w 3112"/>
                <a:gd name="T13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12" h="4320">
                  <a:moveTo>
                    <a:pt x="3112" y="0"/>
                  </a:moveTo>
                  <a:lnTo>
                    <a:pt x="2273" y="0"/>
                  </a:lnTo>
                  <a:lnTo>
                    <a:pt x="0" y="2270"/>
                  </a:lnTo>
                  <a:lnTo>
                    <a:pt x="434" y="3887"/>
                  </a:lnTo>
                  <a:lnTo>
                    <a:pt x="2053" y="4320"/>
                  </a:lnTo>
                  <a:lnTo>
                    <a:pt x="3112" y="3264"/>
                  </a:lnTo>
                  <a:lnTo>
                    <a:pt x="3112" y="0"/>
                  </a:lnTo>
                  <a:close/>
                </a:path>
              </a:pathLst>
            </a:custGeom>
            <a:gradFill>
              <a:gsLst>
                <a:gs pos="11000">
                  <a:schemeClr val="accent3">
                    <a:lumMod val="60000"/>
                    <a:lumOff val="40000"/>
                  </a:schemeClr>
                </a:gs>
                <a:gs pos="87000">
                  <a:schemeClr val="accent3">
                    <a:lumMod val="75000"/>
                  </a:schemeClr>
                </a:gs>
                <a:gs pos="48000">
                  <a:schemeClr val="accent3">
                    <a:lumMod val="75000"/>
                  </a:schemeClr>
                </a:gs>
              </a:gsLst>
              <a:lin ang="108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68">
              <a:extLst>
                <a:ext uri="{FF2B5EF4-FFF2-40B4-BE49-F238E27FC236}">
                  <a16:creationId xmlns:a16="http://schemas.microsoft.com/office/drawing/2014/main" id="{0B561856-227D-4817-BB07-0C5A335A7A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5359" y="4461043"/>
              <a:ext cx="2993466" cy="2400132"/>
            </a:xfrm>
            <a:custGeom>
              <a:avLst/>
              <a:gdLst>
                <a:gd name="T0" fmla="*/ 2150 w 3910"/>
                <a:gd name="T1" fmla="*/ 0 h 3135"/>
                <a:gd name="T2" fmla="*/ 0 w 3910"/>
                <a:gd name="T3" fmla="*/ 2148 h 3135"/>
                <a:gd name="T4" fmla="*/ 265 w 3910"/>
                <a:gd name="T5" fmla="*/ 3135 h 3135"/>
                <a:gd name="T6" fmla="*/ 3910 w 3910"/>
                <a:gd name="T7" fmla="*/ 3135 h 3135"/>
                <a:gd name="T8" fmla="*/ 3910 w 3910"/>
                <a:gd name="T9" fmla="*/ 471 h 3135"/>
                <a:gd name="T10" fmla="*/ 2150 w 3910"/>
                <a:gd name="T11" fmla="*/ 0 h 3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10" h="3135">
                  <a:moveTo>
                    <a:pt x="2150" y="0"/>
                  </a:moveTo>
                  <a:lnTo>
                    <a:pt x="0" y="2148"/>
                  </a:lnTo>
                  <a:lnTo>
                    <a:pt x="265" y="3135"/>
                  </a:lnTo>
                  <a:lnTo>
                    <a:pt x="3910" y="3135"/>
                  </a:lnTo>
                  <a:lnTo>
                    <a:pt x="3910" y="471"/>
                  </a:lnTo>
                  <a:lnTo>
                    <a:pt x="2150" y="0"/>
                  </a:lnTo>
                  <a:close/>
                </a:path>
              </a:pathLst>
            </a:custGeom>
            <a:solidFill>
              <a:schemeClr val="accent1">
                <a:alpha val="83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Freeform 69">
              <a:extLst>
                <a:ext uri="{FF2B5EF4-FFF2-40B4-BE49-F238E27FC236}">
                  <a16:creationId xmlns:a16="http://schemas.microsoft.com/office/drawing/2014/main" id="{44BBF6FF-9DC1-4337-88E3-CEB605EEBE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1700" y="1884363"/>
              <a:ext cx="6207125" cy="4976812"/>
            </a:xfrm>
            <a:custGeom>
              <a:avLst/>
              <a:gdLst>
                <a:gd name="T0" fmla="*/ 2150 w 3910"/>
                <a:gd name="T1" fmla="*/ 0 h 3135"/>
                <a:gd name="T2" fmla="*/ 0 w 3910"/>
                <a:gd name="T3" fmla="*/ 2148 h 3135"/>
                <a:gd name="T4" fmla="*/ 265 w 3910"/>
                <a:gd name="T5" fmla="*/ 3135 h 3135"/>
                <a:gd name="T6" fmla="*/ 3910 w 3910"/>
                <a:gd name="T7" fmla="*/ 3135 h 3135"/>
                <a:gd name="T8" fmla="*/ 3910 w 3910"/>
                <a:gd name="T9" fmla="*/ 471 h 3135"/>
                <a:gd name="T10" fmla="*/ 2150 w 3910"/>
                <a:gd name="T11" fmla="*/ 0 h 3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10" h="3135">
                  <a:moveTo>
                    <a:pt x="2150" y="0"/>
                  </a:moveTo>
                  <a:lnTo>
                    <a:pt x="0" y="2148"/>
                  </a:lnTo>
                  <a:lnTo>
                    <a:pt x="265" y="3135"/>
                  </a:lnTo>
                  <a:lnTo>
                    <a:pt x="3910" y="3135"/>
                  </a:lnTo>
                  <a:lnTo>
                    <a:pt x="3910" y="471"/>
                  </a:lnTo>
                  <a:lnTo>
                    <a:pt x="215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73">
              <a:extLst>
                <a:ext uri="{FF2B5EF4-FFF2-40B4-BE49-F238E27FC236}">
                  <a16:creationId xmlns:a16="http://schemas.microsoft.com/office/drawing/2014/main" id="{B4ED2114-E29C-4A90-A606-3B3296ACC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41771" y="4456448"/>
              <a:ext cx="1598536" cy="1010384"/>
            </a:xfrm>
            <a:custGeom>
              <a:avLst/>
              <a:gdLst>
                <a:gd name="T0" fmla="*/ 1288 w 2582"/>
                <a:gd name="T1" fmla="*/ 0 h 1632"/>
                <a:gd name="T2" fmla="*/ 0 w 2582"/>
                <a:gd name="T3" fmla="*/ 1288 h 1632"/>
                <a:gd name="T4" fmla="*/ 1296 w 2582"/>
                <a:gd name="T5" fmla="*/ 1632 h 1632"/>
                <a:gd name="T6" fmla="*/ 2582 w 2582"/>
                <a:gd name="T7" fmla="*/ 346 h 1632"/>
                <a:gd name="T8" fmla="*/ 1288 w 2582"/>
                <a:gd name="T9" fmla="*/ 0 h 1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2" h="1632">
                  <a:moveTo>
                    <a:pt x="1288" y="0"/>
                  </a:moveTo>
                  <a:lnTo>
                    <a:pt x="0" y="1288"/>
                  </a:lnTo>
                  <a:lnTo>
                    <a:pt x="1296" y="1632"/>
                  </a:lnTo>
                  <a:lnTo>
                    <a:pt x="2582" y="346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96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15" name="图片 14">
              <a:extLst>
                <a:ext uri="{FF2B5EF4-FFF2-40B4-BE49-F238E27FC236}">
                  <a16:creationId xmlns:a16="http://schemas.microsoft.com/office/drawing/2014/main" id="{E5673A97-BA62-44B6-B92D-B32A0A3294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562" y="0"/>
              <a:ext cx="11500876" cy="6858000"/>
            </a:xfrm>
            <a:prstGeom prst="rect">
              <a:avLst/>
            </a:prstGeom>
          </p:spPr>
        </p:pic>
      </p:grpSp>
      <p:sp>
        <p:nvSpPr>
          <p:cNvPr id="3" name="矩形 2">
            <a:extLst>
              <a:ext uri="{FF2B5EF4-FFF2-40B4-BE49-F238E27FC236}">
                <a16:creationId xmlns:a16="http://schemas.microsoft.com/office/drawing/2014/main" id="{9D2114D4-E14B-4E48-A06B-966F1E18BAB0}"/>
              </a:ext>
            </a:extLst>
          </p:cNvPr>
          <p:cNvSpPr/>
          <p:nvPr userDrawn="1"/>
        </p:nvSpPr>
        <p:spPr>
          <a:xfrm>
            <a:off x="675698" y="1130300"/>
            <a:ext cx="10844790" cy="5006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962656" y="193535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963772" y="283070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4/12/9</a:t>
            </a:fld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日期占位符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4/12/9</a:t>
            </a:fld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1">
            <a:extLst>
              <a:ext uri="{FF2B5EF4-FFF2-40B4-BE49-F238E27FC236}">
                <a16:creationId xmlns:a16="http://schemas.microsoft.com/office/drawing/2014/main" id="{864CCC16-CA90-4E26-91DC-A109B9C316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3175" y="0"/>
            <a:ext cx="12192000" cy="68516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</p:pic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1404113A-4C68-436E-9C59-60C333E74884}"/>
              </a:ext>
            </a:extLst>
          </p:cNvPr>
          <p:cNvSpPr/>
          <p:nvPr userDrawn="1"/>
        </p:nvSpPr>
        <p:spPr>
          <a:xfrm flipH="1">
            <a:off x="-4763" y="2997200"/>
            <a:ext cx="3937000" cy="3860800"/>
          </a:xfrm>
          <a:custGeom>
            <a:avLst/>
            <a:gdLst>
              <a:gd name="connsiteX0" fmla="*/ 285115 w 3937000"/>
              <a:gd name="connsiteY0" fmla="*/ 2677795 h 3860800"/>
              <a:gd name="connsiteX1" fmla="*/ 2745105 w 3937000"/>
              <a:gd name="connsiteY1" fmla="*/ 287655 h 3860800"/>
              <a:gd name="connsiteX2" fmla="*/ 3937000 w 3937000"/>
              <a:gd name="connsiteY2" fmla="*/ 625475 h 3860800"/>
              <a:gd name="connsiteX3" fmla="*/ 3937000 w 3937000"/>
              <a:gd name="connsiteY3" fmla="*/ 361950 h 3860800"/>
              <a:gd name="connsiteX4" fmla="*/ 2673350 w 3937000"/>
              <a:gd name="connsiteY4" fmla="*/ 3175 h 3860800"/>
              <a:gd name="connsiteX5" fmla="*/ 3175 w 3937000"/>
              <a:gd name="connsiteY5" fmla="*/ 2597785 h 3860800"/>
              <a:gd name="connsiteX6" fmla="*/ 321310 w 3937000"/>
              <a:gd name="connsiteY6" fmla="*/ 3858260 h 3860800"/>
              <a:gd name="connsiteX7" fmla="*/ 582930 w 3937000"/>
              <a:gd name="connsiteY7" fmla="*/ 3858260 h 38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37000" h="3860800">
                <a:moveTo>
                  <a:pt x="285115" y="2677795"/>
                </a:moveTo>
                <a:lnTo>
                  <a:pt x="2745105" y="287655"/>
                </a:lnTo>
                <a:lnTo>
                  <a:pt x="3937000" y="625475"/>
                </a:lnTo>
                <a:lnTo>
                  <a:pt x="3937000" y="361950"/>
                </a:lnTo>
                <a:lnTo>
                  <a:pt x="2673350" y="3175"/>
                </a:lnTo>
                <a:lnTo>
                  <a:pt x="3175" y="2597785"/>
                </a:lnTo>
                <a:lnTo>
                  <a:pt x="321310" y="3858260"/>
                </a:lnTo>
                <a:lnTo>
                  <a:pt x="582930" y="385826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C6651719-74E7-477F-9A9C-B83984459A3E}"/>
              </a:ext>
            </a:extLst>
          </p:cNvPr>
          <p:cNvSpPr/>
          <p:nvPr userDrawn="1"/>
        </p:nvSpPr>
        <p:spPr>
          <a:xfrm flipH="1">
            <a:off x="5949950" y="-4763"/>
            <a:ext cx="6242050" cy="5861050"/>
          </a:xfrm>
          <a:custGeom>
            <a:avLst/>
            <a:gdLst>
              <a:gd name="connsiteX0" fmla="*/ 5957253 w 6242050"/>
              <a:gd name="connsiteY0" fmla="*/ 3184208 h 5861050"/>
              <a:gd name="connsiteX1" fmla="*/ 3497263 w 6242050"/>
              <a:gd name="connsiteY1" fmla="*/ 5574348 h 5861050"/>
              <a:gd name="connsiteX2" fmla="*/ 197168 w 6242050"/>
              <a:gd name="connsiteY2" fmla="*/ 4638993 h 5861050"/>
              <a:gd name="connsiteX3" fmla="*/ 4763 w 6242050"/>
              <a:gd name="connsiteY3" fmla="*/ 3876358 h 5861050"/>
              <a:gd name="connsiteX4" fmla="*/ 4763 w 6242050"/>
              <a:gd name="connsiteY4" fmla="*/ 4848543 h 5861050"/>
              <a:gd name="connsiteX5" fmla="*/ 3569018 w 6242050"/>
              <a:gd name="connsiteY5" fmla="*/ 5858828 h 5861050"/>
              <a:gd name="connsiteX6" fmla="*/ 6239828 w 6242050"/>
              <a:gd name="connsiteY6" fmla="*/ 3264218 h 5861050"/>
              <a:gd name="connsiteX7" fmla="*/ 5416868 w 6242050"/>
              <a:gd name="connsiteY7" fmla="*/ 4763 h 5861050"/>
              <a:gd name="connsiteX8" fmla="*/ 5154613 w 6242050"/>
              <a:gd name="connsiteY8" fmla="*/ 4763 h 586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42050" h="5861050">
                <a:moveTo>
                  <a:pt x="5957253" y="3184208"/>
                </a:moveTo>
                <a:lnTo>
                  <a:pt x="3497263" y="5574348"/>
                </a:lnTo>
                <a:lnTo>
                  <a:pt x="197168" y="4638993"/>
                </a:lnTo>
                <a:lnTo>
                  <a:pt x="4763" y="3876358"/>
                </a:lnTo>
                <a:lnTo>
                  <a:pt x="4763" y="4848543"/>
                </a:lnTo>
                <a:lnTo>
                  <a:pt x="3569018" y="5858828"/>
                </a:lnTo>
                <a:lnTo>
                  <a:pt x="6239828" y="3264218"/>
                </a:lnTo>
                <a:lnTo>
                  <a:pt x="5416868" y="4763"/>
                </a:lnTo>
                <a:lnTo>
                  <a:pt x="5154613" y="4763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C5774885-D0E8-4425-9F85-4EFAB89B738A}"/>
              </a:ext>
            </a:extLst>
          </p:cNvPr>
          <p:cNvSpPr/>
          <p:nvPr userDrawn="1"/>
        </p:nvSpPr>
        <p:spPr>
          <a:xfrm flipH="1">
            <a:off x="11487150" y="-4763"/>
            <a:ext cx="704850" cy="685800"/>
          </a:xfrm>
          <a:custGeom>
            <a:avLst/>
            <a:gdLst>
              <a:gd name="connsiteX0" fmla="*/ 340043 w 704850"/>
              <a:gd name="connsiteY0" fmla="*/ 4763 h 685800"/>
              <a:gd name="connsiteX1" fmla="*/ 4763 w 704850"/>
              <a:gd name="connsiteY1" fmla="*/ 330518 h 685800"/>
              <a:gd name="connsiteX2" fmla="*/ 4763 w 704850"/>
              <a:gd name="connsiteY2" fmla="*/ 684213 h 685800"/>
              <a:gd name="connsiteX3" fmla="*/ 704533 w 704850"/>
              <a:gd name="connsiteY3" fmla="*/ 4763 h 68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850" h="685800">
                <a:moveTo>
                  <a:pt x="340043" y="4763"/>
                </a:moveTo>
                <a:lnTo>
                  <a:pt x="4763" y="330518"/>
                </a:lnTo>
                <a:lnTo>
                  <a:pt x="4763" y="684213"/>
                </a:lnTo>
                <a:lnTo>
                  <a:pt x="704533" y="4763"/>
                </a:lnTo>
                <a:close/>
              </a:path>
            </a:pathLst>
          </a:custGeom>
          <a:solidFill>
            <a:srgbClr val="23336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Freeform 55">
            <a:extLst>
              <a:ext uri="{FF2B5EF4-FFF2-40B4-BE49-F238E27FC236}">
                <a16:creationId xmlns:a16="http://schemas.microsoft.com/office/drawing/2014/main" id="{7F25DD5F-6BEE-42F3-BBAC-EF7ECABE74B0}"/>
              </a:ext>
            </a:extLst>
          </p:cNvPr>
          <p:cNvSpPr>
            <a:spLocks/>
          </p:cNvSpPr>
          <p:nvPr userDrawn="1"/>
        </p:nvSpPr>
        <p:spPr bwMode="auto">
          <a:xfrm flipH="1">
            <a:off x="8288336" y="1"/>
            <a:ext cx="3898900" cy="3429000"/>
          </a:xfrm>
          <a:custGeom>
            <a:avLst/>
            <a:gdLst>
              <a:gd name="T0" fmla="*/ 0 w 4912"/>
              <a:gd name="T1" fmla="*/ 840 h 4320"/>
              <a:gd name="T2" fmla="*/ 0 w 4912"/>
              <a:gd name="T3" fmla="*/ 1908 h 4320"/>
              <a:gd name="T4" fmla="*/ 464 w 4912"/>
              <a:gd name="T5" fmla="*/ 3633 h 4320"/>
              <a:gd name="T6" fmla="*/ 3032 w 4912"/>
              <a:gd name="T7" fmla="*/ 4320 h 4320"/>
              <a:gd name="T8" fmla="*/ 4912 w 4912"/>
              <a:gd name="T9" fmla="*/ 2441 h 4320"/>
              <a:gd name="T10" fmla="*/ 4258 w 4912"/>
              <a:gd name="T11" fmla="*/ 0 h 4320"/>
              <a:gd name="T12" fmla="*/ 842 w 4912"/>
              <a:gd name="T13" fmla="*/ 0 h 4320"/>
              <a:gd name="T14" fmla="*/ 0 w 4912"/>
              <a:gd name="T15" fmla="*/ 84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912" h="4320">
                <a:moveTo>
                  <a:pt x="0" y="840"/>
                </a:moveTo>
                <a:lnTo>
                  <a:pt x="0" y="1908"/>
                </a:lnTo>
                <a:lnTo>
                  <a:pt x="464" y="3633"/>
                </a:lnTo>
                <a:lnTo>
                  <a:pt x="3032" y="4320"/>
                </a:lnTo>
                <a:lnTo>
                  <a:pt x="4912" y="2441"/>
                </a:lnTo>
                <a:lnTo>
                  <a:pt x="4258" y="0"/>
                </a:lnTo>
                <a:lnTo>
                  <a:pt x="842" y="0"/>
                </a:lnTo>
                <a:lnTo>
                  <a:pt x="0" y="84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Freeform 59">
            <a:extLst>
              <a:ext uri="{FF2B5EF4-FFF2-40B4-BE49-F238E27FC236}">
                <a16:creationId xmlns:a16="http://schemas.microsoft.com/office/drawing/2014/main" id="{E3EAFEC8-6255-47C2-A3C5-7CDD8D66F99D}"/>
              </a:ext>
            </a:extLst>
          </p:cNvPr>
          <p:cNvSpPr>
            <a:spLocks/>
          </p:cNvSpPr>
          <p:nvPr userDrawn="1"/>
        </p:nvSpPr>
        <p:spPr bwMode="auto">
          <a:xfrm flipH="1">
            <a:off x="8250237" y="1912716"/>
            <a:ext cx="3937000" cy="4945284"/>
          </a:xfrm>
          <a:custGeom>
            <a:avLst/>
            <a:gdLst>
              <a:gd name="T0" fmla="*/ 1084 w 3440"/>
              <a:gd name="T1" fmla="*/ 0 h 4321"/>
              <a:gd name="T2" fmla="*/ 0 w 3440"/>
              <a:gd name="T3" fmla="*/ 1082 h 4321"/>
              <a:gd name="T4" fmla="*/ 0 w 3440"/>
              <a:gd name="T5" fmla="*/ 4321 h 4321"/>
              <a:gd name="T6" fmla="*/ 1466 w 3440"/>
              <a:gd name="T7" fmla="*/ 4321 h 4321"/>
              <a:gd name="T8" fmla="*/ 3440 w 3440"/>
              <a:gd name="T9" fmla="*/ 2351 h 4321"/>
              <a:gd name="T10" fmla="*/ 2941 w 3440"/>
              <a:gd name="T11" fmla="*/ 496 h 4321"/>
              <a:gd name="T12" fmla="*/ 1084 w 3440"/>
              <a:gd name="T13" fmla="*/ 0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40" h="4321">
                <a:moveTo>
                  <a:pt x="1084" y="0"/>
                </a:moveTo>
                <a:lnTo>
                  <a:pt x="0" y="1082"/>
                </a:lnTo>
                <a:lnTo>
                  <a:pt x="0" y="4321"/>
                </a:lnTo>
                <a:lnTo>
                  <a:pt x="1466" y="4321"/>
                </a:lnTo>
                <a:lnTo>
                  <a:pt x="3440" y="2351"/>
                </a:lnTo>
                <a:lnTo>
                  <a:pt x="2941" y="496"/>
                </a:lnTo>
                <a:lnTo>
                  <a:pt x="1084" y="0"/>
                </a:lnTo>
                <a:close/>
              </a:path>
            </a:pathLst>
          </a:custGeom>
          <a:gradFill flip="none" rotWithShape="1">
            <a:gsLst>
              <a:gs pos="7000">
                <a:schemeClr val="accent2">
                  <a:lumMod val="60000"/>
                  <a:lumOff val="40000"/>
                  <a:alpha val="82000"/>
                </a:schemeClr>
              </a:gs>
              <a:gs pos="94304">
                <a:schemeClr val="accent2">
                  <a:lumMod val="96000"/>
                </a:schemeClr>
              </a:gs>
              <a:gs pos="50000">
                <a:schemeClr val="accent2">
                  <a:alpha val="84000"/>
                </a:schemeClr>
              </a:gs>
            </a:gsLst>
            <a:lin ang="102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" name="Freeform 60">
            <a:extLst>
              <a:ext uri="{FF2B5EF4-FFF2-40B4-BE49-F238E27FC236}">
                <a16:creationId xmlns:a16="http://schemas.microsoft.com/office/drawing/2014/main" id="{1F58921F-3298-496A-A562-4B0F381B9A34}"/>
              </a:ext>
            </a:extLst>
          </p:cNvPr>
          <p:cNvSpPr>
            <a:spLocks/>
          </p:cNvSpPr>
          <p:nvPr userDrawn="1"/>
        </p:nvSpPr>
        <p:spPr bwMode="auto">
          <a:xfrm flipH="1">
            <a:off x="3362324" y="0"/>
            <a:ext cx="5461000" cy="6859588"/>
          </a:xfrm>
          <a:custGeom>
            <a:avLst/>
            <a:gdLst>
              <a:gd name="T0" fmla="*/ 1084 w 3440"/>
              <a:gd name="T1" fmla="*/ 0 h 4321"/>
              <a:gd name="T2" fmla="*/ 0 w 3440"/>
              <a:gd name="T3" fmla="*/ 1082 h 4321"/>
              <a:gd name="T4" fmla="*/ 0 w 3440"/>
              <a:gd name="T5" fmla="*/ 4321 h 4321"/>
              <a:gd name="T6" fmla="*/ 1466 w 3440"/>
              <a:gd name="T7" fmla="*/ 4321 h 4321"/>
              <a:gd name="T8" fmla="*/ 3440 w 3440"/>
              <a:gd name="T9" fmla="*/ 2351 h 4321"/>
              <a:gd name="T10" fmla="*/ 2941 w 3440"/>
              <a:gd name="T11" fmla="*/ 496 h 4321"/>
              <a:gd name="T12" fmla="*/ 1084 w 3440"/>
              <a:gd name="T13" fmla="*/ 0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40" h="4321">
                <a:moveTo>
                  <a:pt x="1084" y="0"/>
                </a:moveTo>
                <a:lnTo>
                  <a:pt x="0" y="1082"/>
                </a:lnTo>
                <a:lnTo>
                  <a:pt x="0" y="4321"/>
                </a:lnTo>
                <a:lnTo>
                  <a:pt x="1466" y="4321"/>
                </a:lnTo>
                <a:lnTo>
                  <a:pt x="3440" y="2351"/>
                </a:lnTo>
                <a:lnTo>
                  <a:pt x="2941" y="496"/>
                </a:lnTo>
                <a:lnTo>
                  <a:pt x="108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" name="Freeform 64">
            <a:extLst>
              <a:ext uri="{FF2B5EF4-FFF2-40B4-BE49-F238E27FC236}">
                <a16:creationId xmlns:a16="http://schemas.microsoft.com/office/drawing/2014/main" id="{E4D58152-EBD8-41F1-B678-CA7D3C5AC268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3176" y="1588"/>
            <a:ext cx="3937000" cy="5465244"/>
          </a:xfrm>
          <a:custGeom>
            <a:avLst/>
            <a:gdLst>
              <a:gd name="T0" fmla="*/ 3112 w 3112"/>
              <a:gd name="T1" fmla="*/ 0 h 4320"/>
              <a:gd name="T2" fmla="*/ 2273 w 3112"/>
              <a:gd name="T3" fmla="*/ 0 h 4320"/>
              <a:gd name="T4" fmla="*/ 0 w 3112"/>
              <a:gd name="T5" fmla="*/ 2270 h 4320"/>
              <a:gd name="T6" fmla="*/ 434 w 3112"/>
              <a:gd name="T7" fmla="*/ 3887 h 4320"/>
              <a:gd name="T8" fmla="*/ 2053 w 3112"/>
              <a:gd name="T9" fmla="*/ 4320 h 4320"/>
              <a:gd name="T10" fmla="*/ 3112 w 3112"/>
              <a:gd name="T11" fmla="*/ 3264 h 4320"/>
              <a:gd name="T12" fmla="*/ 3112 w 3112"/>
              <a:gd name="T13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12" h="4320">
                <a:moveTo>
                  <a:pt x="3112" y="0"/>
                </a:moveTo>
                <a:lnTo>
                  <a:pt x="2273" y="0"/>
                </a:lnTo>
                <a:lnTo>
                  <a:pt x="0" y="2270"/>
                </a:lnTo>
                <a:lnTo>
                  <a:pt x="434" y="3887"/>
                </a:lnTo>
                <a:lnTo>
                  <a:pt x="2053" y="4320"/>
                </a:lnTo>
                <a:lnTo>
                  <a:pt x="3112" y="3264"/>
                </a:lnTo>
                <a:lnTo>
                  <a:pt x="3112" y="0"/>
                </a:lnTo>
                <a:close/>
              </a:path>
            </a:pathLst>
          </a:custGeom>
          <a:gradFill>
            <a:gsLst>
              <a:gs pos="11000">
                <a:schemeClr val="accent3">
                  <a:lumMod val="60000"/>
                  <a:lumOff val="40000"/>
                </a:schemeClr>
              </a:gs>
              <a:gs pos="87000">
                <a:schemeClr val="accent3">
                  <a:lumMod val="75000"/>
                </a:schemeClr>
              </a:gs>
              <a:gs pos="48000">
                <a:schemeClr val="accent3">
                  <a:lumMod val="75000"/>
                </a:schemeClr>
              </a:gs>
            </a:gsLst>
            <a:lin ang="108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6" name="Freeform 68">
            <a:extLst>
              <a:ext uri="{FF2B5EF4-FFF2-40B4-BE49-F238E27FC236}">
                <a16:creationId xmlns:a16="http://schemas.microsoft.com/office/drawing/2014/main" id="{28A736D3-4357-4646-999F-BAD293704FD8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1588" y="4461043"/>
            <a:ext cx="2993466" cy="2400132"/>
          </a:xfrm>
          <a:custGeom>
            <a:avLst/>
            <a:gdLst>
              <a:gd name="T0" fmla="*/ 2150 w 3910"/>
              <a:gd name="T1" fmla="*/ 0 h 3135"/>
              <a:gd name="T2" fmla="*/ 0 w 3910"/>
              <a:gd name="T3" fmla="*/ 2148 h 3135"/>
              <a:gd name="T4" fmla="*/ 265 w 3910"/>
              <a:gd name="T5" fmla="*/ 3135 h 3135"/>
              <a:gd name="T6" fmla="*/ 3910 w 3910"/>
              <a:gd name="T7" fmla="*/ 3135 h 3135"/>
              <a:gd name="T8" fmla="*/ 3910 w 3910"/>
              <a:gd name="T9" fmla="*/ 471 h 3135"/>
              <a:gd name="T10" fmla="*/ 2150 w 3910"/>
              <a:gd name="T11" fmla="*/ 0 h 3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10" h="3135">
                <a:moveTo>
                  <a:pt x="2150" y="0"/>
                </a:moveTo>
                <a:lnTo>
                  <a:pt x="0" y="2148"/>
                </a:lnTo>
                <a:lnTo>
                  <a:pt x="265" y="3135"/>
                </a:lnTo>
                <a:lnTo>
                  <a:pt x="3910" y="3135"/>
                </a:lnTo>
                <a:lnTo>
                  <a:pt x="3910" y="471"/>
                </a:lnTo>
                <a:lnTo>
                  <a:pt x="2150" y="0"/>
                </a:lnTo>
                <a:close/>
              </a:path>
            </a:pathLst>
          </a:custGeom>
          <a:solidFill>
            <a:schemeClr val="accent1">
              <a:alpha val="83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7" name="Freeform 69">
            <a:extLst>
              <a:ext uri="{FF2B5EF4-FFF2-40B4-BE49-F238E27FC236}">
                <a16:creationId xmlns:a16="http://schemas.microsoft.com/office/drawing/2014/main" id="{3699CF7A-5812-4233-82D4-0A692599EBE2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1588" y="1884363"/>
            <a:ext cx="6207125" cy="4976812"/>
          </a:xfrm>
          <a:custGeom>
            <a:avLst/>
            <a:gdLst>
              <a:gd name="T0" fmla="*/ 2150 w 3910"/>
              <a:gd name="T1" fmla="*/ 0 h 3135"/>
              <a:gd name="T2" fmla="*/ 0 w 3910"/>
              <a:gd name="T3" fmla="*/ 2148 h 3135"/>
              <a:gd name="T4" fmla="*/ 265 w 3910"/>
              <a:gd name="T5" fmla="*/ 3135 h 3135"/>
              <a:gd name="T6" fmla="*/ 3910 w 3910"/>
              <a:gd name="T7" fmla="*/ 3135 h 3135"/>
              <a:gd name="T8" fmla="*/ 3910 w 3910"/>
              <a:gd name="T9" fmla="*/ 471 h 3135"/>
              <a:gd name="T10" fmla="*/ 2150 w 3910"/>
              <a:gd name="T11" fmla="*/ 0 h 3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10" h="3135">
                <a:moveTo>
                  <a:pt x="2150" y="0"/>
                </a:moveTo>
                <a:lnTo>
                  <a:pt x="0" y="2148"/>
                </a:lnTo>
                <a:lnTo>
                  <a:pt x="265" y="3135"/>
                </a:lnTo>
                <a:lnTo>
                  <a:pt x="3910" y="3135"/>
                </a:lnTo>
                <a:lnTo>
                  <a:pt x="3910" y="471"/>
                </a:lnTo>
                <a:lnTo>
                  <a:pt x="215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" name="Freeform 73">
            <a:extLst>
              <a:ext uri="{FF2B5EF4-FFF2-40B4-BE49-F238E27FC236}">
                <a16:creationId xmlns:a16="http://schemas.microsoft.com/office/drawing/2014/main" id="{62967E7E-F1AC-4648-8BD0-DE9853212D2A}"/>
              </a:ext>
            </a:extLst>
          </p:cNvPr>
          <p:cNvSpPr>
            <a:spLocks/>
          </p:cNvSpPr>
          <p:nvPr userDrawn="1"/>
        </p:nvSpPr>
        <p:spPr bwMode="auto">
          <a:xfrm flipH="1">
            <a:off x="546930" y="4456448"/>
            <a:ext cx="1598536" cy="1010384"/>
          </a:xfrm>
          <a:custGeom>
            <a:avLst/>
            <a:gdLst>
              <a:gd name="T0" fmla="*/ 1288 w 2582"/>
              <a:gd name="T1" fmla="*/ 0 h 1632"/>
              <a:gd name="T2" fmla="*/ 0 w 2582"/>
              <a:gd name="T3" fmla="*/ 1288 h 1632"/>
              <a:gd name="T4" fmla="*/ 1296 w 2582"/>
              <a:gd name="T5" fmla="*/ 1632 h 1632"/>
              <a:gd name="T6" fmla="*/ 2582 w 2582"/>
              <a:gd name="T7" fmla="*/ 346 h 1632"/>
              <a:gd name="T8" fmla="*/ 1288 w 2582"/>
              <a:gd name="T9" fmla="*/ 0 h 1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82" h="1632">
                <a:moveTo>
                  <a:pt x="1288" y="0"/>
                </a:moveTo>
                <a:lnTo>
                  <a:pt x="0" y="1288"/>
                </a:lnTo>
                <a:lnTo>
                  <a:pt x="1296" y="1632"/>
                </a:lnTo>
                <a:lnTo>
                  <a:pt x="2582" y="346"/>
                </a:lnTo>
                <a:lnTo>
                  <a:pt x="1288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96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52721583-829C-4388-BBA3-718FE4BD36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0799" y="0"/>
            <a:ext cx="11500876" cy="6858000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739635" y="2994025"/>
            <a:ext cx="5426076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739635" y="5300261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739636" y="5003990"/>
            <a:ext cx="54260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0">
            <a:extLst>
              <a:ext uri="{FF2B5EF4-FFF2-40B4-BE49-F238E27FC236}">
                <a16:creationId xmlns:a16="http://schemas.microsoft.com/office/drawing/2014/main" id="{C7F13243-417E-4A69-98D4-2A811E4CFB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42" b="19286"/>
          <a:stretch/>
        </p:blipFill>
        <p:spPr>
          <a:xfrm>
            <a:off x="3521522" y="5472858"/>
            <a:ext cx="4150758" cy="924561"/>
          </a:xfrm>
          <a:prstGeom prst="rect">
            <a:avLst/>
          </a:prstGeom>
        </p:spPr>
      </p:pic>
      <p:grpSp>
        <p:nvGrpSpPr>
          <p:cNvPr id="10" name="Group 14">
            <a:extLst>
              <a:ext uri="{FF2B5EF4-FFF2-40B4-BE49-F238E27FC236}">
                <a16:creationId xmlns:a16="http://schemas.microsoft.com/office/drawing/2014/main" id="{21977BFE-DC59-4108-A6DB-98909E647A82}"/>
              </a:ext>
            </a:extLst>
          </p:cNvPr>
          <p:cNvGrpSpPr/>
          <p:nvPr userDrawn="1"/>
        </p:nvGrpSpPr>
        <p:grpSpPr>
          <a:xfrm>
            <a:off x="-635" y="-8891"/>
            <a:ext cx="12207875" cy="883171"/>
            <a:chOff x="-635" y="-8891"/>
            <a:chExt cx="12207875" cy="883171"/>
          </a:xfrm>
        </p:grpSpPr>
        <p:sp>
          <p:nvSpPr>
            <p:cNvPr id="11" name="矩形 13">
              <a:extLst>
                <a:ext uri="{FF2B5EF4-FFF2-40B4-BE49-F238E27FC236}">
                  <a16:creationId xmlns:a16="http://schemas.microsoft.com/office/drawing/2014/main" id="{E62D3654-560C-43E0-A887-3BF21ED12A10}"/>
                </a:ext>
              </a:extLst>
            </p:cNvPr>
            <p:cNvSpPr/>
            <p:nvPr/>
          </p:nvSpPr>
          <p:spPr>
            <a:xfrm>
              <a:off x="-635" y="-8891"/>
              <a:ext cx="12207875" cy="883171"/>
            </a:xfrm>
            <a:prstGeom prst="rect">
              <a:avLst/>
            </a:prstGeom>
            <a:gradFill>
              <a:gsLst>
                <a:gs pos="33000">
                  <a:srgbClr val="020645"/>
                </a:gs>
                <a:gs pos="100000">
                  <a:srgbClr val="CA59C5"/>
                </a:gs>
              </a:gsLst>
              <a:lin ang="216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2" name="Picture 21" descr="Logo and Title White">
              <a:extLst>
                <a:ext uri="{FF2B5EF4-FFF2-40B4-BE49-F238E27FC236}">
                  <a16:creationId xmlns:a16="http://schemas.microsoft.com/office/drawing/2014/main" id="{8BE8DE67-3E67-456D-94A5-472922C70B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2593" y="170344"/>
              <a:ext cx="2891847" cy="517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文本框 46">
              <a:extLst>
                <a:ext uri="{FF2B5EF4-FFF2-40B4-BE49-F238E27FC236}">
                  <a16:creationId xmlns:a16="http://schemas.microsoft.com/office/drawing/2014/main" id="{FA453058-6066-476D-9940-E8C0B1E7900D}"/>
                </a:ext>
              </a:extLst>
            </p:cNvPr>
            <p:cNvSpPr txBox="1"/>
            <p:nvPr/>
          </p:nvSpPr>
          <p:spPr>
            <a:xfrm>
              <a:off x="0" y="143479"/>
              <a:ext cx="266526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3200" b="1" dirty="0">
                  <a:solidFill>
                    <a:schemeClr val="bg1"/>
                  </a:solidFill>
                  <a:latin typeface="+mj-ea"/>
                  <a:ea typeface="+mj-ea"/>
                </a:rPr>
                <a:t>XJTL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09540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4/12/9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矩形 13">
            <a:extLst>
              <a:ext uri="{FF2B5EF4-FFF2-40B4-BE49-F238E27FC236}">
                <a16:creationId xmlns:a16="http://schemas.microsoft.com/office/drawing/2014/main" id="{D109624C-3801-4434-8CF0-399D8133C529}"/>
              </a:ext>
            </a:extLst>
          </p:cNvPr>
          <p:cNvSpPr/>
          <p:nvPr userDrawn="1"/>
        </p:nvSpPr>
        <p:spPr>
          <a:xfrm>
            <a:off x="0" y="1008857"/>
            <a:ext cx="12192000" cy="95976"/>
          </a:xfrm>
          <a:prstGeom prst="rect">
            <a:avLst/>
          </a:prstGeom>
          <a:gradFill>
            <a:gsLst>
              <a:gs pos="33000">
                <a:srgbClr val="020645"/>
              </a:gs>
              <a:gs pos="100000">
                <a:srgbClr val="CA59C5"/>
              </a:gs>
            </a:gsLst>
            <a:lin ang="216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2" name="Picture 9">
            <a:extLst>
              <a:ext uri="{FF2B5EF4-FFF2-40B4-BE49-F238E27FC236}">
                <a16:creationId xmlns:a16="http://schemas.microsoft.com/office/drawing/2014/main" id="{9CE1A13B-4417-42D8-828F-6687636AF31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1120" y="203200"/>
            <a:ext cx="3041198" cy="650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" name="think-cell Slide" r:id="rId7" imgW="282" imgH="282" progId="TCLayout.ActiveDocument.1">
                  <p:embed/>
                </p:oleObj>
              </mc:Choice>
              <mc:Fallback>
                <p:oleObj name="think-cell Slide" r:id="rId7" imgW="282" imgH="282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3200" dirty="0">
              <a:solidFill>
                <a:schemeClr val="bg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3" name="Rechteck 2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3200" dirty="0">
              <a:solidFill>
                <a:schemeClr val="bg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91BBAEBD-9687-4246-99DA-60148BE66962}"/>
              </a:ext>
            </a:extLst>
          </p:cNvPr>
          <p:cNvSpPr/>
          <p:nvPr/>
        </p:nvSpPr>
        <p:spPr>
          <a:xfrm>
            <a:off x="672684" y="1825642"/>
            <a:ext cx="10624978" cy="13062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6000" b="1" dirty="0" smtClean="0">
                <a:solidFill>
                  <a:schemeClr val="accent1">
                    <a:lumMod val="50000"/>
                  </a:schemeClr>
                </a:solidFill>
              </a:rPr>
              <a:t>CPT 203</a:t>
            </a:r>
            <a:endParaRPr lang="en-US" sz="6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8E7CA1B3-C61A-453B-98E4-2704626BA29D}"/>
              </a:ext>
            </a:extLst>
          </p:cNvPr>
          <p:cNvSpPr txBox="1"/>
          <p:nvPr/>
        </p:nvSpPr>
        <p:spPr>
          <a:xfrm>
            <a:off x="2091547" y="3598213"/>
            <a:ext cx="77872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/>
              <a:t>Revision on week 1-4</a:t>
            </a:r>
          </a:p>
          <a:p>
            <a:pPr algn="ctr"/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1631016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ek 4 Software Specification </a:t>
            </a:r>
            <a:r>
              <a:rPr lang="en-GB" dirty="0" smtClean="0"/>
              <a:t>-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sz="3600" dirty="0"/>
              <a:t>Software </a:t>
            </a:r>
            <a:r>
              <a:rPr lang="en-US" sz="3600" dirty="0" smtClean="0"/>
              <a:t>specification processes</a:t>
            </a:r>
            <a:endParaRPr lang="en-US" sz="3600" dirty="0"/>
          </a:p>
          <a:p>
            <a:r>
              <a:rPr lang="en-US" sz="3600" dirty="0" smtClean="0"/>
              <a:t>system </a:t>
            </a:r>
            <a:r>
              <a:rPr lang="en-US" sz="3600" dirty="0"/>
              <a:t>requirements and user </a:t>
            </a:r>
            <a:r>
              <a:rPr lang="en-US" sz="3600" dirty="0" smtClean="0"/>
              <a:t>requirements: 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3600" dirty="0" smtClean="0"/>
              <a:t>definition, 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3600" dirty="0" smtClean="0"/>
              <a:t>to </a:t>
            </a:r>
            <a:r>
              <a:rPr lang="en-US" sz="3600" dirty="0"/>
              <a:t>differentiate </a:t>
            </a:r>
            <a:r>
              <a:rPr lang="en-US" sz="3600" dirty="0" smtClean="0"/>
              <a:t>them, and to compare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3600" dirty="0" smtClean="0"/>
              <a:t>able to provide examples</a:t>
            </a:r>
          </a:p>
          <a:p>
            <a:r>
              <a:rPr lang="en-US" sz="3600" dirty="0"/>
              <a:t>Techniques </a:t>
            </a:r>
            <a:r>
              <a:rPr lang="en-US" sz="3600" dirty="0" smtClean="0"/>
              <a:t>to define system requirements</a:t>
            </a:r>
            <a:endParaRPr lang="en-GB" sz="3600" dirty="0" smtClean="0"/>
          </a:p>
          <a:p>
            <a:r>
              <a:rPr lang="en-US" sz="3600" dirty="0" smtClean="0"/>
              <a:t>functional and non-functional requirements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14686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ek 4 Software Specification </a:t>
            </a:r>
            <a:r>
              <a:rPr lang="en-GB" dirty="0" smtClean="0"/>
              <a:t>-3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sz="3600" dirty="0" smtClean="0"/>
              <a:t>emergent system </a:t>
            </a:r>
          </a:p>
          <a:p>
            <a:r>
              <a:rPr lang="en-GB" sz="3600" dirty="0" smtClean="0"/>
              <a:t>How to do requirements elicitation and analysis? Able to work on use cases</a:t>
            </a:r>
          </a:p>
          <a:p>
            <a:r>
              <a:rPr lang="en-US" sz="3600" dirty="0" smtClean="0"/>
              <a:t>What is software requirements document? Good practices of making such a document, and level of details</a:t>
            </a:r>
          </a:p>
          <a:p>
            <a:r>
              <a:rPr lang="en-GB" sz="3600" dirty="0" smtClean="0"/>
              <a:t>What are requirements validation? What activities might include ? And their techniques ?</a:t>
            </a:r>
            <a:endParaRPr lang="en-US" sz="3600" dirty="0" smtClean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56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5708" y="1858689"/>
            <a:ext cx="8858250" cy="462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79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XJTLU </a:t>
            </a:r>
            <a:r>
              <a:rPr lang="fr-FR" dirty="0" err="1" smtClean="0"/>
              <a:t>Student</a:t>
            </a:r>
            <a:r>
              <a:rPr lang="fr-FR" dirty="0" smtClean="0"/>
              <a:t> </a:t>
            </a:r>
            <a:r>
              <a:rPr lang="fr-FR" dirty="0"/>
              <a:t>Module Feedback Questionnaire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2164337" y="1102272"/>
            <a:ext cx="7315200" cy="5486400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7" name="Rectangle 6"/>
          <p:cNvSpPr/>
          <p:nvPr/>
        </p:nvSpPr>
        <p:spPr>
          <a:xfrm>
            <a:off x="6864045" y="6055797"/>
            <a:ext cx="52309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core.xjtlu.edu.cn/course/view.php?id=1677</a:t>
            </a:r>
          </a:p>
        </p:txBody>
      </p:sp>
    </p:spTree>
    <p:extLst>
      <p:ext uri="{BB962C8B-B14F-4D97-AF65-F5344CB8AC3E}">
        <p14:creationId xmlns:p14="http://schemas.microsoft.com/office/powerpoint/2010/main" val="2053352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eek 1 -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 smtClean="0"/>
              <a:t>Lecture page 2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r="21255" b="26226"/>
          <a:stretch/>
        </p:blipFill>
        <p:spPr>
          <a:xfrm>
            <a:off x="1109645" y="1946639"/>
            <a:ext cx="7200452" cy="365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015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eek1 -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sz="3600" dirty="0" smtClean="0"/>
              <a:t>What is </a:t>
            </a:r>
            <a:r>
              <a:rPr lang="en-GB" sz="3600" dirty="0"/>
              <a:t>s</a:t>
            </a:r>
            <a:r>
              <a:rPr lang="en-GB" sz="3600" dirty="0" smtClean="0"/>
              <a:t>oftware engineering ?</a:t>
            </a:r>
          </a:p>
          <a:p>
            <a:r>
              <a:rPr lang="en-GB" sz="3600" dirty="0" smtClean="0"/>
              <a:t>The activities of software engineering</a:t>
            </a:r>
          </a:p>
          <a:p>
            <a:r>
              <a:rPr lang="en-GB" sz="3600" dirty="0"/>
              <a:t>Software </a:t>
            </a:r>
            <a:r>
              <a:rPr lang="en-GB" sz="3600" dirty="0" smtClean="0"/>
              <a:t>engineering approaches</a:t>
            </a:r>
          </a:p>
          <a:p>
            <a:r>
              <a:rPr lang="en-GB" sz="3600" dirty="0" smtClean="0"/>
              <a:t>What </a:t>
            </a:r>
            <a:r>
              <a:rPr lang="en-GB" sz="3600" dirty="0" smtClean="0"/>
              <a:t>is</a:t>
            </a:r>
            <a:r>
              <a:rPr lang="en-GB" sz="3600" dirty="0" smtClean="0"/>
              <a:t> </a:t>
            </a:r>
            <a:r>
              <a:rPr lang="en-GB" sz="3600" dirty="0" smtClean="0"/>
              <a:t>professional software development ?</a:t>
            </a:r>
          </a:p>
          <a:p>
            <a:r>
              <a:rPr lang="en-GB" sz="3600" dirty="0"/>
              <a:t>Software </a:t>
            </a:r>
            <a:r>
              <a:rPr lang="en-GB" sz="3600" dirty="0" smtClean="0"/>
              <a:t>engineering ethics</a:t>
            </a:r>
            <a:endParaRPr lang="en-GB" sz="3600" dirty="0"/>
          </a:p>
          <a:p>
            <a:r>
              <a:rPr lang="en-GB" sz="3600" dirty="0" smtClean="0"/>
              <a:t>Software deterioration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6266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eek 2 -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Lecture page 2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7216" t="16175" r="18784" b="21491"/>
          <a:stretch/>
        </p:blipFill>
        <p:spPr>
          <a:xfrm>
            <a:off x="1908583" y="1656676"/>
            <a:ext cx="8346211" cy="3808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28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eek 2 -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GB" sz="3600" dirty="0" smtClean="0"/>
              <a:t>What are </a:t>
            </a:r>
            <a:r>
              <a:rPr lang="en-GB" sz="3600" dirty="0"/>
              <a:t>the </a:t>
            </a:r>
            <a:r>
              <a:rPr lang="en-GB" sz="3600" dirty="0" smtClean="0"/>
              <a:t>software process activities ?</a:t>
            </a:r>
          </a:p>
          <a:p>
            <a:r>
              <a:rPr lang="en-GB" sz="3600" dirty="0" smtClean="0"/>
              <a:t>Definition of each of them </a:t>
            </a:r>
          </a:p>
          <a:p>
            <a:endParaRPr lang="en-GB" sz="3600" dirty="0" smtClean="0"/>
          </a:p>
          <a:p>
            <a:r>
              <a:rPr lang="en-US" sz="3600" dirty="0" smtClean="0"/>
              <a:t>What are the software </a:t>
            </a:r>
            <a:r>
              <a:rPr lang="en-US" sz="3600" dirty="0"/>
              <a:t>process </a:t>
            </a:r>
            <a:r>
              <a:rPr lang="en-US" sz="3600" dirty="0" smtClean="0"/>
              <a:t>models? </a:t>
            </a:r>
            <a:r>
              <a:rPr lang="en-GB" sz="3600" dirty="0" smtClean="0"/>
              <a:t>Able to explain them</a:t>
            </a:r>
          </a:p>
          <a:p>
            <a:r>
              <a:rPr lang="en-GB" sz="3600" dirty="0" smtClean="0"/>
              <a:t>Their </a:t>
            </a:r>
            <a:r>
              <a:rPr lang="en-US" sz="3600" dirty="0" smtClean="0"/>
              <a:t>characteristics, </a:t>
            </a:r>
            <a:r>
              <a:rPr lang="en-GB" sz="3600" dirty="0" smtClean="0"/>
              <a:t>advantages and disadvantages </a:t>
            </a:r>
          </a:p>
          <a:p>
            <a:r>
              <a:rPr lang="en-GB" sz="3600" dirty="0" smtClean="0"/>
              <a:t>Given a scenario, how to decide which process model to use? Able to provide justification </a:t>
            </a:r>
          </a:p>
          <a:p>
            <a:endParaRPr lang="en-GB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3268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eek 3-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 smtClean="0"/>
              <a:t>Page 2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t="20756" r="35137"/>
          <a:stretch/>
        </p:blipFill>
        <p:spPr>
          <a:xfrm>
            <a:off x="2944010" y="1570616"/>
            <a:ext cx="5931049" cy="3924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342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eek 3 -2 Agile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sz="3600" dirty="0" smtClean="0"/>
              <a:t>Principles of agile methods</a:t>
            </a:r>
          </a:p>
          <a:p>
            <a:r>
              <a:rPr lang="en-GB" sz="3600" dirty="0" smtClean="0"/>
              <a:t>Characteristics, advantages and disadvantages of agile methods</a:t>
            </a:r>
          </a:p>
          <a:p>
            <a:r>
              <a:rPr lang="en-GB" sz="3600" dirty="0" smtClean="0"/>
              <a:t>Given a scenario, able to decide if agile is a good choice </a:t>
            </a:r>
          </a:p>
          <a:p>
            <a:r>
              <a:rPr lang="en-GB" sz="3600" dirty="0" smtClean="0"/>
              <a:t>Comparison on agile and plan-driven</a:t>
            </a:r>
          </a:p>
          <a:p>
            <a:r>
              <a:rPr lang="en-GB" sz="3600" dirty="0"/>
              <a:t>Scrum </a:t>
            </a:r>
            <a:r>
              <a:rPr lang="en-GB" sz="3600" dirty="0" smtClean="0"/>
              <a:t>framework </a:t>
            </a:r>
            <a:r>
              <a:rPr lang="en-GB" sz="3600" dirty="0"/>
              <a:t>(roles, activities, and </a:t>
            </a:r>
            <a:r>
              <a:rPr lang="en-GB" sz="3600" dirty="0" err="1"/>
              <a:t>artifacts</a:t>
            </a:r>
            <a:r>
              <a:rPr lang="en-GB" sz="3600" dirty="0"/>
              <a:t>)</a:t>
            </a:r>
            <a:endParaRPr lang="en-GB" sz="3600" dirty="0" smtClean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8033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9924" y="9197"/>
            <a:ext cx="10850563" cy="1028699"/>
          </a:xfrm>
        </p:spPr>
        <p:txBody>
          <a:bodyPr/>
          <a:lstStyle/>
          <a:p>
            <a:r>
              <a:rPr lang="en-GB" dirty="0"/>
              <a:t>Week 4 Software </a:t>
            </a:r>
            <a:r>
              <a:rPr lang="en-GB" dirty="0" smtClean="0"/>
              <a:t>Specification -1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3"/>
          </p:nvPr>
        </p:nvPicPr>
        <p:blipFill rotWithShape="1">
          <a:blip r:embed="rId2"/>
          <a:srcRect l="7938" t="15839" r="18495" b="18457"/>
          <a:stretch/>
        </p:blipFill>
        <p:spPr>
          <a:xfrm>
            <a:off x="1514136" y="1271751"/>
            <a:ext cx="8923785" cy="4317070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4331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2fe9dbee-fadb-44f3-9b0c-6c50a2eeb33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K4J.rPTMkgjPaEqUc1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8T_LQF4vxQtkU5Rw1kC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7230D5"/>
      </a:accent1>
      <a:accent2>
        <a:srgbClr val="44CA91"/>
      </a:accent2>
      <a:accent3>
        <a:srgbClr val="FF7F5C"/>
      </a:accent3>
      <a:accent4>
        <a:srgbClr val="132051"/>
      </a:accent4>
      <a:accent5>
        <a:srgbClr val="828E97"/>
      </a:accent5>
      <a:accent6>
        <a:srgbClr val="525252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5141</TotalTime>
  <Words>264</Words>
  <Application>Microsoft Office PowerPoint</Application>
  <PresentationFormat>Widescreen</PresentationFormat>
  <Paragraphs>58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微软雅黑</vt:lpstr>
      <vt:lpstr>宋体</vt:lpstr>
      <vt:lpstr>Arial</vt:lpstr>
      <vt:lpstr>Calibri</vt:lpstr>
      <vt:lpstr>Wingdings</vt:lpstr>
      <vt:lpstr>主题5</vt:lpstr>
      <vt:lpstr>think-cell Slide</vt:lpstr>
      <vt:lpstr>PowerPoint Presentation</vt:lpstr>
      <vt:lpstr>XJTLU Student Module Feedback Questionnaire</vt:lpstr>
      <vt:lpstr>Week 1 -1</vt:lpstr>
      <vt:lpstr>Week1 -2</vt:lpstr>
      <vt:lpstr>Week 2 -1</vt:lpstr>
      <vt:lpstr>Week 2 -2</vt:lpstr>
      <vt:lpstr>Week 3-1</vt:lpstr>
      <vt:lpstr>Week 3 -2 Agile </vt:lpstr>
      <vt:lpstr>Week 4 Software Specification -1</vt:lpstr>
      <vt:lpstr>Week 4 Software Specification -2</vt:lpstr>
      <vt:lpstr>Week 4 Software Specification -3</vt:lpstr>
      <vt:lpstr>PowerPoint Presentation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keywords>www.51pptmoban.com</cp:keywords>
  <cp:lastModifiedBy>Nanlin Jin</cp:lastModifiedBy>
  <cp:revision>857</cp:revision>
  <cp:lastPrinted>2018-04-12T16:00:00Z</cp:lastPrinted>
  <dcterms:created xsi:type="dcterms:W3CDTF">2018-04-12T16:00:00Z</dcterms:created>
  <dcterms:modified xsi:type="dcterms:W3CDTF">2024-12-09T07:3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